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2"/>
  </p:notesMasterIdLst>
  <p:handoutMasterIdLst>
    <p:handoutMasterId r:id="rId13"/>
  </p:handoutMasterIdLst>
  <p:sldIdLst>
    <p:sldId id="311" r:id="rId4"/>
    <p:sldId id="340" r:id="rId5"/>
    <p:sldId id="366" r:id="rId6"/>
    <p:sldId id="376" r:id="rId7"/>
    <p:sldId id="377" r:id="rId8"/>
    <p:sldId id="378" r:id="rId9"/>
    <p:sldId id="329" r:id="rId10"/>
    <p:sldId id="349" r:id="rId11"/>
  </p:sldIdLst>
  <p:sldSz cx="9906000" cy="6858000" type="A4"/>
  <p:notesSz cx="6896100" cy="10033000"/>
  <p:custDataLst>
    <p:tags r:id="rId14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02" autoAdjust="0"/>
    <p:restoredTop sz="93861" autoAdjust="0"/>
  </p:normalViewPr>
  <p:slideViewPr>
    <p:cSldViewPr>
      <p:cViewPr varScale="1">
        <p:scale>
          <a:sx n="125" d="100"/>
          <a:sy n="125" d="100"/>
        </p:scale>
        <p:origin x="-1188" y="-8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1/28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3-pl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3-pl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3-pl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3-pl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Excercise3-pl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Excercise3-pl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3-pl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Excercise3-pl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60.xml"/><Relationship Id="rId7" Type="http://schemas.openxmlformats.org/officeDocument/2006/relationships/image" Target="../media/image16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1.png"/><Relationship Id="rId2" Type="http://schemas.openxmlformats.org/officeDocument/2006/relationships/tags" Target="../tags/tag6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0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3.png"/><Relationship Id="rId2" Type="http://schemas.openxmlformats.org/officeDocument/2006/relationships/tags" Target="../tags/tag6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2.png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5.png"/><Relationship Id="rId2" Type="http://schemas.openxmlformats.org/officeDocument/2006/relationships/tags" Target="../tags/tag6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4.png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9.png"/><Relationship Id="rId2" Type="http://schemas.openxmlformats.org/officeDocument/2006/relationships/tags" Target="../tags/tag65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8.png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7.vml"/><Relationship Id="rId4" Type="http://schemas.openxmlformats.org/officeDocument/2006/relationships/oleObject" Target="../embeddings/oleObject2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4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6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690" y="1844780"/>
            <a:ext cx="9906000" cy="1944270"/>
          </a:xfrm>
        </p:spPr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</a:t>
            </a:r>
            <a:r>
              <a:rPr lang="en-US" sz="4400" dirty="0" err="1" smtClean="0">
                <a:effectLst/>
                <a:latin typeface="Comic Sans MS"/>
              </a:rPr>
              <a:t>Zadanie</a:t>
            </a:r>
            <a:r>
              <a:rPr lang="en-US" sz="4400" dirty="0" smtClean="0">
                <a:effectLst/>
                <a:latin typeface="Comic Sans MS"/>
              </a:rPr>
              <a:t> 3</a:t>
            </a:r>
            <a:endParaRPr lang="en-GB" dirty="0"/>
          </a:p>
        </p:txBody>
      </p:sp>
      <p:pic>
        <p:nvPicPr>
          <p:cNvPr id="75779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72350" y="5373270"/>
            <a:ext cx="3024420" cy="1017562"/>
          </a:xfrm>
          <a:prstGeom prst="rect">
            <a:avLst/>
          </a:prstGeom>
          <a:noFill/>
        </p:spPr>
      </p:pic>
      <p:pic>
        <p:nvPicPr>
          <p:cNvPr id="75780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1588770" cy="1714500"/>
          </a:xfrm>
          <a:prstGeom prst="rect">
            <a:avLst/>
          </a:prstGeom>
          <a:noFill/>
        </p:spPr>
      </p:pic>
      <p:pic>
        <p:nvPicPr>
          <p:cNvPr id="7" name="Picture 2" descr="Warsztat 8+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177170" y="4365130"/>
            <a:ext cx="1838325" cy="1828800"/>
          </a:xfrm>
          <a:prstGeom prst="rect">
            <a:avLst/>
          </a:prstGeom>
          <a:noFill/>
        </p:spPr>
      </p:pic>
      <p:sp>
        <p:nvSpPr>
          <p:cNvPr id="11" name="Title 9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5690" y="2276840"/>
            <a:ext cx="9906000" cy="1944270"/>
          </a:xfrm>
          <a:prstGeom prst="rect">
            <a:avLst/>
          </a:prstGeom>
        </p:spPr>
        <p:txBody>
          <a:bodyPr vert="horz" lIns="36000" tIns="36000" rIns="360000" bIns="36000" rtlCol="0" anchor="ctr">
            <a:noAutofit/>
          </a:bodyPr>
          <a:lstStyle/>
          <a:p>
            <a:pPr marL="0" marR="0" lvl="0" indent="0" algn="l" defTabSz="9956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      </a:t>
            </a:r>
            <a:r>
              <a:rPr kumimoji="0" lang="de-DE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Interakcja</a:t>
            </a:r>
            <a:r>
              <a:rPr kumimoji="0" lang="de-DE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z</a:t>
            </a:r>
            <a:r>
              <a:rPr kumimoji="0" lang="de-DE" sz="28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</a:t>
            </a:r>
            <a:r>
              <a:rPr kumimoji="0" lang="de-DE" sz="2800" b="0" i="0" u="none" strike="noStrike" kern="120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innymi</a:t>
            </a:r>
            <a:r>
              <a:rPr kumimoji="0" lang="de-DE" sz="28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</a:t>
            </a:r>
            <a:r>
              <a:rPr kumimoji="0" lang="de-DE" sz="2800" b="0" i="0" u="none" strike="noStrike" kern="120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elementami</a:t>
            </a:r>
            <a:r>
              <a:rPr kumimoji="0" lang="de-DE" sz="28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(</a:t>
            </a:r>
            <a:r>
              <a:rPr kumimoji="0" lang="de-DE" sz="2800" b="0" i="0" u="none" strike="noStrike" kern="120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cd</a:t>
            </a:r>
            <a:r>
              <a:rPr kumimoji="0" lang="de-DE" sz="28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) </a:t>
            </a: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omic Sans MS" pitchFamily="66" charset="0"/>
              <a:ea typeface="+mj-ea"/>
              <a:cs typeface="+mj-cs"/>
            </a:endParaRPr>
          </a:p>
        </p:txBody>
      </p:sp>
      <p:pic>
        <p:nvPicPr>
          <p:cNvPr id="8" name="Picture 6" descr="Warsztat 10+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8011355" y="4365130"/>
            <a:ext cx="1838325" cy="18288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Wskazówki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3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9217280" cy="18722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konaj wszystkie ćwiczenia krok po kroku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 ćwiczeniach możesz posiłkować się w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y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drukowanymi kartami (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cratch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ard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Jeśli potrzebujesz pomocy, poproś prowadzącego.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6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160890" y="486920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40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1. Dodaj monetę do zbierania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3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748904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twórz nowego duszka wybierając przycisk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Paint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new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sprite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 Nazwij go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Coin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aimportuj grafikę z monety przyciskiem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Upload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costume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from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file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i wybierz plik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coin.sv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rzygotuj dla duszka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oin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skrypt podobny do zadania 2.2. W bloku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touchin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wybierz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at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(reagujemy na dotknięcie monety przez kota). 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cxnSp>
        <p:nvCxnSpPr>
          <p:cNvPr id="20" name="Straight Arrow Connector 19"/>
          <p:cNvCxnSpPr/>
          <p:nvPr/>
        </p:nvCxnSpPr>
        <p:spPr>
          <a:xfrm flipH="1">
            <a:off x="8908082" y="1556740"/>
            <a:ext cx="5468" cy="360050"/>
          </a:xfrm>
          <a:prstGeom prst="straightConnector1">
            <a:avLst/>
          </a:prstGeom>
          <a:ln w="22225">
            <a:solidFill>
              <a:srgbClr val="FF99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4019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833400" y="1916790"/>
            <a:ext cx="168592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4020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65460" y="2708900"/>
            <a:ext cx="9525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6" name="Straight Arrow Connector 15"/>
          <p:cNvCxnSpPr/>
          <p:nvPr/>
        </p:nvCxnSpPr>
        <p:spPr>
          <a:xfrm flipH="1">
            <a:off x="8822870" y="2492870"/>
            <a:ext cx="5468" cy="360050"/>
          </a:xfrm>
          <a:prstGeom prst="straightConnector1">
            <a:avLst/>
          </a:prstGeom>
          <a:ln w="22225">
            <a:solidFill>
              <a:srgbClr val="FF990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064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1. Dodaj monetę do zbierania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3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936130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ewnątrz bloku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if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umieść blok        z grupy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Look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 (chcemy aby moneta zniknęła po dotknięciu przez kota)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próbuj zagrać (po naciśnięciu przycisku zielonej flagi). Ile gier można zagrać?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o należy zmienić aby moneta pojawiała się po każdym rozpoczęciu gry?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40643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241040" y="1772770"/>
            <a:ext cx="552450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0644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512800" y="2639960"/>
            <a:ext cx="2238375" cy="158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1666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2. Kotek wydaje okrzyk po dotknięciu monety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3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936130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modyfikuj skrypt duszka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Cat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zaczynający się zieloną flagą, dodając nowy blok           . 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 warunku należy sprawdzić czy kotek dotknął monety (blok        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touching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            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 polu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if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. 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Jeśli kotek dotknął monety powinien powiedzieć 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„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Hura, wygrałem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“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(blok                 ) przez 2 sekundy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de-DE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Dodaj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d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źwięk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gdy kotek dotyka monety.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41667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044565" y="3753240"/>
            <a:ext cx="14763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1668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463936" y="2132820"/>
            <a:ext cx="840974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1669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072600" y="2996940"/>
            <a:ext cx="103822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177170" y="4509150"/>
            <a:ext cx="2171700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576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</a:t>
            </a:r>
            <a:r>
              <a:rPr lang="pl-PL" dirty="0" smtClean="0"/>
              <a:t>3. </a:t>
            </a:r>
            <a:r>
              <a:rPr lang="pl-PL" dirty="0" smtClean="0"/>
              <a:t>Wyświetl czas dojścia do monety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3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268700"/>
            <a:ext cx="763306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aznacz kotka i w grupie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Data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Dane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 na palecie Scripts utwórz nową zmienną (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Make a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Variable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. Nazwij ją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tempo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modyfikuj skrypt kotka tak aby po dotknięciu monety do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miennej tempo zapisać czas od rozpoczęcia gry – użyj bloku                oraz licznika     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timer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(      ) z grupy </a:t>
            </a:r>
            <a:r>
              <a:rPr lang="pl-PL" sz="2400" dirty="0" err="1" smtClean="0">
                <a:solidFill>
                  <a:srgbClr val="FF9900"/>
                </a:solidFill>
                <a:latin typeface="Comic Sans MS"/>
                <a:cs typeface="Comic Sans MS"/>
              </a:rPr>
              <a:t>Sensoring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 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Ustaw wartość zmiennej na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0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na oraz wyzeruj licznik za pomocą          początku gry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agraj.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45763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049430" y="1484730"/>
            <a:ext cx="1337507" cy="139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5764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838335" y="3645030"/>
            <a:ext cx="1266825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5765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368780" y="4005080"/>
            <a:ext cx="542925" cy="29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5766" name="Picture 6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3224760" y="5157240"/>
            <a:ext cx="885825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5767" name="Picture 7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401340" y="3284980"/>
            <a:ext cx="2376330" cy="3072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10</Words>
  <Application>Microsoft Office PowerPoint</Application>
  <PresentationFormat>A4 Paper (210x297 mm)</PresentationFormat>
  <Paragraphs>46</Paragraphs>
  <Slides>8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Blank</vt:lpstr>
      <vt:lpstr>Closing slides</vt:lpstr>
      <vt:lpstr>Section break</vt:lpstr>
      <vt:lpstr>think-cell Slide</vt:lpstr>
      <vt:lpstr>       Zadanie 3</vt:lpstr>
      <vt:lpstr>Wskazówki</vt:lpstr>
      <vt:lpstr>Krok 1. Dodaj monetę do zbierania</vt:lpstr>
      <vt:lpstr>Krok 1. Dodaj monetę do zbierania</vt:lpstr>
      <vt:lpstr>Krok 2. Kotek wydaje okrzyk po dotknięciu monety</vt:lpstr>
      <vt:lpstr>Krok 3. Wyświetl czas dojścia do monety.</vt:lpstr>
      <vt:lpstr>Slide 7</vt:lpstr>
      <vt:lpstr>Slide 8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Krzysztof Sobkowiak</cp:lastModifiedBy>
  <cp:revision>152</cp:revision>
  <dcterms:created xsi:type="dcterms:W3CDTF">2014-10-21T19:55:20Z</dcterms:created>
  <dcterms:modified xsi:type="dcterms:W3CDTF">2014-11-28T07:02:52Z</dcterms:modified>
</cp:coreProperties>
</file>